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175257995762"/>
          <c:y val="1.023451286337884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4.59876888180874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6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006E-3"/>
                  <c:y val="2.3602210457880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5.3985684189384278E-2"/>
                  <c:y val="5.897650227547026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2.3585287126126728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64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8741607850303683E-2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7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6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02.07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81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42</cdr:x>
      <cdr:y>0.21708</cdr:y>
    </cdr:from>
    <cdr:to>
      <cdr:x>0.62544</cdr:x>
      <cdr:y>0.2814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4254" y="934936"/>
          <a:ext cx="5965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02.07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7/2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7/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7/2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02.07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5456924"/>
              </p:ext>
            </p:extLst>
          </p:nvPr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5833722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17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4207237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4</TotalTime>
  <Words>103</Words>
  <Application>Microsoft Office PowerPoint</Application>
  <PresentationFormat>Широкоэкранный</PresentationFormat>
  <Paragraphs>3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08</cp:revision>
  <cp:lastPrinted>2025-05-22T08:59:55Z</cp:lastPrinted>
  <dcterms:created xsi:type="dcterms:W3CDTF">2021-07-15T07:55:03Z</dcterms:created>
  <dcterms:modified xsi:type="dcterms:W3CDTF">2025-07-02T08:52:36Z</dcterms:modified>
</cp:coreProperties>
</file>